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notesSlides/notesSlide13.xml" ContentType="application/vnd.openxmlformats-officedocument.presentationml.notesSlide+xml"/>
  <Override PartName="/ppt/tags/tag7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21"/>
  </p:notesMasterIdLst>
  <p:handoutMasterIdLst>
    <p:handoutMasterId r:id="rId22"/>
  </p:handoutMasterIdLst>
  <p:sldIdLst>
    <p:sldId id="311" r:id="rId4"/>
    <p:sldId id="340" r:id="rId5"/>
    <p:sldId id="350" r:id="rId6"/>
    <p:sldId id="351" r:id="rId7"/>
    <p:sldId id="352" r:id="rId8"/>
    <p:sldId id="353" r:id="rId9"/>
    <p:sldId id="354" r:id="rId10"/>
    <p:sldId id="355" r:id="rId11"/>
    <p:sldId id="356" r:id="rId12"/>
    <p:sldId id="358" r:id="rId13"/>
    <p:sldId id="359" r:id="rId14"/>
    <p:sldId id="360" r:id="rId15"/>
    <p:sldId id="357" r:id="rId16"/>
    <p:sldId id="361" r:id="rId17"/>
    <p:sldId id="362" r:id="rId18"/>
    <p:sldId id="329" r:id="rId19"/>
    <p:sldId id="349" r:id="rId20"/>
  </p:sldIdLst>
  <p:sldSz cx="9906000" cy="6858000" type="A4"/>
  <p:notesSz cx="6896100" cy="10033000"/>
  <p:custDataLst>
    <p:tags r:id="rId2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109" d="100"/>
          <a:sy n="109" d="100"/>
        </p:scale>
        <p:origin x="-1674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4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15.png"/><Relationship Id="rId4" Type="http://schemas.openxmlformats.org/officeDocument/2006/relationships/tags" Target="../tags/tag38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15.png"/><Relationship Id="rId4" Type="http://schemas.openxmlformats.org/officeDocument/2006/relationships/tags" Target="../tags/tag47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5.png"/><Relationship Id="rId2" Type="http://schemas.openxmlformats.org/officeDocument/2006/relationships/tags" Target="../tags/tag5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7.jpeg"/><Relationship Id="rId2" Type="http://schemas.openxmlformats.org/officeDocument/2006/relationships/tags" Target="../tags/tag55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6.gif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5.emf"/><Relationship Id="rId5" Type="http://schemas.openxmlformats.org/officeDocument/2006/relationships/tags" Target="../tags/tag1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6.xml"/><Relationship Id="rId9" Type="http://schemas.openxmlformats.org/officeDocument/2006/relationships/image" Target="../media/image7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grpSp>
        <p:nvGrpSpPr>
          <p:cNvPr id="13" name="Group 12"/>
          <p:cNvGrpSpPr/>
          <p:nvPr userDrawn="1"/>
        </p:nvGrpSpPr>
        <p:grpSpPr>
          <a:xfrm>
            <a:off x="6249180" y="188550"/>
            <a:ext cx="3048847" cy="1347723"/>
            <a:chOff x="716233" y="0"/>
            <a:chExt cx="3048847" cy="1347723"/>
          </a:xfrm>
        </p:grpSpPr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/>
            <a:stretch>
              <a:fillRect/>
            </a:stretch>
          </p:blipFill>
          <p:spPr>
            <a:xfrm>
              <a:off x="716233" y="653033"/>
              <a:ext cx="3002809" cy="694690"/>
            </a:xfrm>
            <a:prstGeom prst="rect">
              <a:avLst/>
            </a:prstGeom>
          </p:spPr>
        </p:pic>
        <p:pic>
          <p:nvPicPr>
            <p:cNvPr id="12" name="Picture 3"/>
            <p:cNvPicPr>
              <a:picLocks noChangeAspect="1" noChangeArrowheads="1"/>
            </p:cNvPicPr>
            <p:nvPr userDrawn="1"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1496520" y="0"/>
              <a:ext cx="2268560" cy="12015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2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1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5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30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Introduction-to-Scratch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3" name="Picture 3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977420" y="31430"/>
            <a:ext cx="1656230" cy="877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5.png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7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6.png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5.png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8.png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0.png"/><Relationship Id="rId2" Type="http://schemas.openxmlformats.org/officeDocument/2006/relationships/tags" Target="../tags/tag7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9.png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2.png"/><Relationship Id="rId2" Type="http://schemas.openxmlformats.org/officeDocument/2006/relationships/tags" Target="../tags/tag7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1.png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6.vml"/><Relationship Id="rId4" Type="http://schemas.openxmlformats.org/officeDocument/2006/relationships/oleObject" Target="../embeddings/oleObject3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5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2.png"/><Relationship Id="rId2" Type="http://schemas.openxmlformats.org/officeDocument/2006/relationships/tags" Target="../tags/tag6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1.pn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4.png"/><Relationship Id="rId2" Type="http://schemas.openxmlformats.org/officeDocument/2006/relationships/tags" Target="../tags/tag6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3.png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.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05410" y="4365130"/>
            <a:ext cx="1838325" cy="1828800"/>
          </a:xfrm>
          <a:prstGeom prst="rect">
            <a:avLst/>
          </a:prstGeom>
          <a:noFill/>
        </p:spPr>
      </p:pic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12550" y="2060810"/>
            <a:ext cx="4076700" cy="1371600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995075" y="436513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149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200340" y="162875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ygląd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a</a:t>
            </a:r>
            <a:r>
              <a:rPr lang="pl-PL" sz="2400" dirty="0" smtClean="0">
                <a:latin typeface="Comic Sans MS"/>
              </a:rPr>
              <a:t> możemy zmienić zmieniając jego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rój</a:t>
            </a:r>
            <a:r>
              <a:rPr lang="pl-PL" sz="2400" dirty="0" smtClean="0">
                <a:latin typeface="Comic Sans MS"/>
              </a:rPr>
              <a:t>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costume</a:t>
            </a:r>
            <a:r>
              <a:rPr lang="pl-PL" sz="2400" dirty="0" smtClean="0">
                <a:latin typeface="Comic Sans MS"/>
              </a:rPr>
              <a:t>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Każdy duszek może posiadać kilka stro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Aby podejrzeć stroje duszka wzbieramy zakładkę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Costumes</a:t>
            </a:r>
            <a:r>
              <a:rPr lang="pl-PL" sz="2400" dirty="0" smtClean="0">
                <a:latin typeface="Comic Sans MS"/>
              </a:rPr>
              <a:t>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149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880990" y="2132924"/>
            <a:ext cx="4824670" cy="413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6"/>
          <p:cNvSpPr/>
          <p:nvPr/>
        </p:nvSpPr>
        <p:spPr>
          <a:xfrm>
            <a:off x="5177739" y="2095646"/>
            <a:ext cx="792110" cy="28804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251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4880990" y="1484730"/>
            <a:ext cx="4608640" cy="25203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ek</a:t>
            </a:r>
            <a:r>
              <a:rPr lang="pl-PL" sz="2400" dirty="0" smtClean="0">
                <a:latin typeface="Comic Sans MS"/>
              </a:rPr>
              <a:t> może wyglądać jak człowiek, motyl, pociąg lub cokolwiek innego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roje</a:t>
            </a:r>
            <a:r>
              <a:rPr lang="pl-PL" sz="2400" dirty="0" smtClean="0">
                <a:latin typeface="Comic Sans MS"/>
              </a:rPr>
              <a:t> możemy wybrać z palety, wybrać z  pliku lub zrobić zdjęcie kamerą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76420" y="2852920"/>
            <a:ext cx="34671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2517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00590" y="4005080"/>
            <a:ext cx="7589042" cy="2167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/>
        </p:nvSpPr>
        <p:spPr>
          <a:xfrm>
            <a:off x="848430" y="3356990"/>
            <a:ext cx="936130" cy="28804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353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272350" y="1412720"/>
            <a:ext cx="4032560" cy="93613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Stroje można także namalować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149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728830" y="1196690"/>
            <a:ext cx="5832810" cy="4998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/>
          <p:nvPr/>
        </p:nvSpPr>
        <p:spPr>
          <a:xfrm>
            <a:off x="4736970" y="5085230"/>
            <a:ext cx="4752660" cy="115216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057570" y="1772770"/>
            <a:ext cx="504070" cy="216030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046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aleta narzędz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684095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zy pomocy palety możemy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większać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mniejszać</a:t>
            </a:r>
            <a:r>
              <a:rPr lang="pl-PL" sz="2400" dirty="0" smtClean="0">
                <a:latin typeface="Comic Sans MS"/>
              </a:rPr>
              <a:t> rozmiar duszk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Można takż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plikować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usuwać</a:t>
            </a:r>
            <a:r>
              <a:rPr lang="pl-PL" sz="2400" dirty="0" smtClean="0">
                <a:latin typeface="Comic Sans MS"/>
              </a:rPr>
              <a:t>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i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roje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źwięki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krypty</a:t>
            </a:r>
            <a:r>
              <a:rPr lang="pl-PL" sz="2400" dirty="0" smtClean="0">
                <a:latin typeface="Comic Sans MS"/>
              </a:rPr>
              <a:t>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046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016870" y="3573020"/>
            <a:ext cx="4579205" cy="1728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/>
          <p:nvPr/>
        </p:nvSpPr>
        <p:spPr>
          <a:xfrm>
            <a:off x="4808980" y="3861060"/>
            <a:ext cx="1728240" cy="36005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45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aleta bloków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128330" y="1700760"/>
            <a:ext cx="7417030" cy="223231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gramowanie w </a:t>
            </a:r>
            <a:r>
              <a:rPr lang="pl-PL" sz="2400" dirty="0" err="1" smtClean="0">
                <a:latin typeface="Comic Sans MS"/>
              </a:rPr>
              <a:t>Scratchu</a:t>
            </a:r>
            <a:r>
              <a:rPr lang="pl-PL" sz="2400" dirty="0" smtClean="0">
                <a:latin typeface="Comic Sans MS"/>
              </a:rPr>
              <a:t> polega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układaniu sekwencji poleceń </a:t>
            </a:r>
            <a:r>
              <a:rPr lang="pl-PL" sz="2400" dirty="0" smtClean="0">
                <a:latin typeface="Comic Sans MS"/>
              </a:rPr>
              <a:t>z gotowych bloków dostępnych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alecie bloków</a:t>
            </a:r>
            <a:r>
              <a:rPr lang="pl-PL" sz="2400" dirty="0" smtClean="0">
                <a:latin typeface="Comic Sans MS"/>
              </a:rPr>
              <a:t> </a:t>
            </a:r>
            <a:r>
              <a:rPr lang="pl-PL" sz="2400" dirty="0" smtClean="0">
                <a:latin typeface="Comic Sans MS"/>
              </a:rPr>
              <a:t>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blocks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palette</a:t>
            </a:r>
            <a:r>
              <a:rPr lang="pl-PL" sz="2400" dirty="0" smtClean="0">
                <a:latin typeface="Comic Sans MS"/>
              </a:rPr>
              <a:t>).</a:t>
            </a:r>
            <a:r>
              <a:rPr lang="pl-PL" sz="2400" dirty="0" smtClean="0">
                <a:latin typeface="Comic Sans MS"/>
              </a:rPr>
              <a:t>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Bloki układamy w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obszarze skryptowym </a:t>
            </a:r>
            <a:r>
              <a:rPr lang="pl-PL" sz="2400" dirty="0" smtClean="0">
                <a:latin typeface="Comic Sans MS"/>
              </a:rPr>
              <a:t>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ripts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area</a:t>
            </a:r>
            <a:r>
              <a:rPr lang="pl-PL" sz="2400" dirty="0" smtClean="0">
                <a:latin typeface="Comic Sans MS"/>
              </a:rPr>
              <a:t>)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a</a:t>
            </a:r>
            <a:r>
              <a:rPr lang="pl-PL" sz="2400" dirty="0" smtClean="0">
                <a:latin typeface="Comic Sans MS"/>
              </a:rPr>
              <a:t> </a:t>
            </a:r>
            <a:r>
              <a:rPr lang="pl-PL" sz="2400" dirty="0" smtClean="0">
                <a:latin typeface="Comic Sans MS"/>
              </a:rPr>
              <a:t>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tła</a:t>
            </a:r>
            <a:r>
              <a:rPr lang="pl-PL" sz="2400" dirty="0" smtClean="0">
                <a:latin typeface="Comic Sans MS"/>
              </a:rPr>
              <a:t>.</a:t>
            </a:r>
            <a:endParaRPr lang="pl-PL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4565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224760" y="4221110"/>
            <a:ext cx="5471080" cy="2016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56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545360" y="1916790"/>
            <a:ext cx="1870988" cy="396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558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Jak wystartować i zatrzymać program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001250" cy="12961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ielona flaga </a:t>
            </a:r>
            <a:r>
              <a:rPr lang="pl-PL" sz="2400" dirty="0" smtClean="0">
                <a:latin typeface="Comic Sans MS"/>
              </a:rPr>
              <a:t>startuje wszystkie </a:t>
            </a:r>
            <a:r>
              <a:rPr lang="pl-PL" sz="2400" dirty="0" err="1" smtClean="0">
                <a:latin typeface="Comic Sans MS"/>
              </a:rPr>
              <a:t>stkrypty</a:t>
            </a:r>
            <a:r>
              <a:rPr lang="pl-PL" sz="2400" dirty="0" smtClean="0">
                <a:latin typeface="Comic Sans MS"/>
              </a:rPr>
              <a:t> zaczynające się blokiem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Czerwony znak stop </a:t>
            </a:r>
            <a:r>
              <a:rPr lang="pl-PL" sz="2400" dirty="0" smtClean="0">
                <a:latin typeface="Comic Sans MS"/>
              </a:rPr>
              <a:t>kończy działanie wszystkich skryptów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558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28580" y="1844780"/>
            <a:ext cx="12382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89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16370" y="2852920"/>
            <a:ext cx="4176580" cy="2856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90" name="Picture 6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40790" y="3789050"/>
            <a:ext cx="3457575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/>
        </p:nvSpPr>
        <p:spPr>
          <a:xfrm>
            <a:off x="6105160" y="3717040"/>
            <a:ext cx="936130" cy="36005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Czym</a:t>
            </a:r>
            <a:r>
              <a:rPr lang="de-DE" dirty="0" smtClean="0"/>
              <a:t> </a:t>
            </a:r>
            <a:r>
              <a:rPr lang="de-DE" dirty="0" err="1" smtClean="0"/>
              <a:t>jest</a:t>
            </a:r>
            <a:r>
              <a:rPr lang="de-DE" dirty="0" smtClean="0"/>
              <a:t>                  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3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28580" y="188550"/>
            <a:ext cx="2038350" cy="685800"/>
          </a:xfrm>
          <a:prstGeom prst="rect">
            <a:avLst/>
          </a:prstGeom>
          <a:noFill/>
        </p:spPr>
      </p:pic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językiem programowania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emy użyć go do tworzenia własnych, interaktywnych historyjek, animacji, gier, muzyki oraz sztuki</a:t>
            </a: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436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81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Czego</a:t>
            </a:r>
            <a:r>
              <a:rPr lang="de-DE" dirty="0" smtClean="0"/>
              <a:t> </a:t>
            </a:r>
            <a:r>
              <a:rPr lang="de-DE" dirty="0" err="1" smtClean="0"/>
              <a:t>uczy</a:t>
            </a:r>
            <a:r>
              <a:rPr lang="de-DE" dirty="0" smtClean="0"/>
              <a:t> </a:t>
            </a:r>
            <a:r>
              <a:rPr lang="de-DE" dirty="0" err="1" smtClean="0"/>
              <a:t>nas</a:t>
            </a:r>
            <a:r>
              <a:rPr lang="de-DE" dirty="0" smtClean="0"/>
              <a:t>                  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3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70630" y="188550"/>
            <a:ext cx="2038350" cy="685800"/>
          </a:xfrm>
          <a:prstGeom prst="rect">
            <a:avLst/>
          </a:prstGeom>
          <a:noFill/>
        </p:spPr>
      </p:pic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4402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ważnych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50E"/>
                </a:solidFill>
                <a:latin typeface="Comic Sans MS"/>
              </a:rPr>
              <a:t>idei</a:t>
            </a:r>
            <a:r>
              <a:rPr lang="de-DE" sz="2400" dirty="0" smtClean="0">
                <a:solidFill>
                  <a:srgbClr val="FF950E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50E"/>
                </a:solidFill>
                <a:latin typeface="Comic Sans MS"/>
              </a:rPr>
              <a:t>programistycznych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myśleć</a:t>
            </a:r>
            <a:r>
              <a:rPr lang="de-DE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kreatywnie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systematycznego</a:t>
            </a:r>
            <a:r>
              <a:rPr lang="de-DE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rozumowania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59764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92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Czym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jest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programowanie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266437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rogramowanie</a:t>
            </a:r>
            <a:r>
              <a:rPr lang="pl-PL" sz="2400" dirty="0" smtClean="0">
                <a:latin typeface="Comic Sans MS"/>
              </a:rPr>
              <a:t>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ztuką</a:t>
            </a:r>
            <a:r>
              <a:rPr lang="pl-PL" sz="2400" dirty="0" smtClean="0">
                <a:latin typeface="Comic Sans MS"/>
              </a:rPr>
              <a:t> powiedzenia komputerowi żeby zrobił coś co chcemy żeby zrobił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gram komputerowy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biorem instrukcji mówiących komputerowi, w jaki sposób wykonać dane zadanie</a:t>
            </a:r>
            <a:r>
              <a:rPr lang="pl-PL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smtClean="0">
                <a:latin typeface="Comic Sans MS"/>
              </a:rPr>
              <a:t>Pro</a:t>
            </a:r>
            <a:r>
              <a:rPr lang="pl-PL" sz="2400" dirty="0" err="1" smtClean="0">
                <a:latin typeface="Comic Sans MS"/>
              </a:rPr>
              <a:t>gramowanie</a:t>
            </a:r>
            <a:r>
              <a:rPr lang="pl-PL" sz="2400" dirty="0" smtClean="0">
                <a:latin typeface="Comic Sans MS"/>
              </a:rPr>
              <a:t> jest jak recepta: zbiór instrukcji mówiących kucharzowi jak przyrządzić dani</a:t>
            </a:r>
            <a:r>
              <a:rPr lang="de-DE" sz="2400" dirty="0" smtClean="0">
                <a:latin typeface="Comic Sans MS"/>
              </a:rPr>
              <a:t>e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47804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02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odstawowe elementy projektu w </a:t>
            </a:r>
            <a:r>
              <a:rPr lang="pl-PL" dirty="0" err="1" smtClean="0">
                <a:solidFill>
                  <a:srgbClr val="000000"/>
                </a:solidFill>
                <a:latin typeface="Comic Sans MS"/>
              </a:rPr>
              <a:t>Scratchu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1521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jekt w </a:t>
            </a:r>
            <a:r>
              <a:rPr lang="pl-PL" sz="2400" dirty="0" err="1" smtClean="0">
                <a:latin typeface="Comic Sans MS"/>
              </a:rPr>
              <a:t>Scratchu</a:t>
            </a:r>
            <a:r>
              <a:rPr lang="pl-PL" sz="2400" dirty="0" smtClean="0">
                <a:latin typeface="Comic Sans MS"/>
              </a:rPr>
              <a:t> składa się z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en</a:t>
            </a:r>
            <a:r>
              <a:rPr lang="pl-PL" sz="2400" dirty="0" smtClean="0">
                <a:latin typeface="Comic Sans MS"/>
              </a:rPr>
              <a:t>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stages</a:t>
            </a:r>
            <a:r>
              <a:rPr lang="pl-PL" sz="2400" dirty="0" smtClean="0">
                <a:latin typeface="Comic Sans MS"/>
              </a:rPr>
              <a:t>) oraz obiektów zwanych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duszk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ami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pl-PL" sz="2400" dirty="0" smtClean="0">
                <a:latin typeface="Comic Sans MS"/>
              </a:rPr>
              <a:t>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sprites</a:t>
            </a:r>
            <a:r>
              <a:rPr lang="pl-PL" sz="2400" dirty="0" smtClean="0">
                <a:latin typeface="Comic Sans MS"/>
              </a:rPr>
              <a:t>)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14241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12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Sceny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i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duszk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381653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Scena</a:t>
            </a:r>
            <a:r>
              <a:rPr lang="pl-PL" sz="2400" dirty="0" smtClean="0">
                <a:latin typeface="Comic Sans MS"/>
              </a:rPr>
              <a:t> jest miejscem gdzie odbywają się wasze animacje, gry i historyjki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4149100"/>
            <a:ext cx="381653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Duszki</a:t>
            </a:r>
            <a:r>
              <a:rPr lang="de-DE" sz="2400" dirty="0" smtClean="0">
                <a:latin typeface="Comic Sans MS"/>
              </a:rPr>
              <a:t> </a:t>
            </a:r>
            <a:r>
              <a:rPr lang="pl-PL" sz="2400" dirty="0" smtClean="0">
                <a:latin typeface="Comic Sans MS"/>
              </a:rPr>
              <a:t>poruszają się oraz współdziałają ze sobą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enie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1" name="Picture 10"/>
          <p:cNvPicPr/>
          <p:nvPr/>
        </p:nvPicPr>
        <p:blipFill>
          <a:blip r:embed="rId6"/>
          <a:stretch>
            <a:fillRect/>
          </a:stretch>
        </p:blipFill>
        <p:spPr>
          <a:xfrm>
            <a:off x="4808980" y="1509120"/>
            <a:ext cx="4657320" cy="3885840"/>
          </a:xfrm>
          <a:prstGeom prst="rect">
            <a:avLst/>
          </a:prstGeom>
          <a:ln>
            <a:noFill/>
          </a:ln>
        </p:spPr>
      </p:pic>
      <p:sp>
        <p:nvSpPr>
          <p:cNvPr id="12" name="Line 4"/>
          <p:cNvSpPr/>
          <p:nvPr/>
        </p:nvSpPr>
        <p:spPr>
          <a:xfrm flipV="1">
            <a:off x="1208480" y="3429000"/>
            <a:ext cx="5544770" cy="792110"/>
          </a:xfrm>
          <a:prstGeom prst="line">
            <a:avLst/>
          </a:prstGeom>
          <a:ln w="36720">
            <a:solidFill>
              <a:srgbClr val="FF9900"/>
            </a:solidFill>
            <a:round/>
            <a:tailEnd type="triangle" w="med" len="med"/>
          </a:ln>
        </p:spPr>
      </p:sp>
      <p:sp>
        <p:nvSpPr>
          <p:cNvPr id="13" name="Line 5"/>
          <p:cNvSpPr/>
          <p:nvPr/>
        </p:nvSpPr>
        <p:spPr>
          <a:xfrm flipV="1">
            <a:off x="2864710" y="5085230"/>
            <a:ext cx="2232310" cy="19430"/>
          </a:xfrm>
          <a:prstGeom prst="line">
            <a:avLst/>
          </a:prstGeom>
          <a:ln w="36720">
            <a:solidFill>
              <a:srgbClr val="FF950E"/>
            </a:solidFill>
            <a:round/>
            <a:tailEnd type="triangle" w="med" len="med"/>
          </a:ln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739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Scena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4248590" cy="37445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Scen</a:t>
            </a:r>
            <a:r>
              <a:rPr lang="pl-PL" sz="2400" dirty="0" smtClean="0">
                <a:latin typeface="Comic Sans MS"/>
              </a:rPr>
              <a:t>ę można wyświetlić w jedny</a:t>
            </a:r>
            <a:r>
              <a:rPr lang="pl-PL" sz="2400" dirty="0" smtClean="0">
                <a:latin typeface="Comic Sans MS"/>
              </a:rPr>
              <a:t>m z dwóch trybów: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odglądu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rezentacji</a:t>
            </a:r>
            <a:r>
              <a:rPr lang="pl-PL" sz="2400" dirty="0" smtClean="0">
                <a:latin typeface="Comic Sans MS"/>
              </a:rPr>
              <a:t>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0" name="Picture 9"/>
          <p:cNvPicPr/>
          <p:nvPr/>
        </p:nvPicPr>
        <p:blipFill>
          <a:blip r:embed="rId6"/>
          <a:stretch>
            <a:fillRect/>
          </a:stretch>
        </p:blipFill>
        <p:spPr>
          <a:xfrm>
            <a:off x="4808980" y="1509120"/>
            <a:ext cx="4657320" cy="3885840"/>
          </a:xfrm>
          <a:prstGeom prst="rect">
            <a:avLst/>
          </a:prstGeom>
          <a:ln>
            <a:noFill/>
          </a:ln>
        </p:spPr>
      </p:pic>
      <p:sp>
        <p:nvSpPr>
          <p:cNvPr id="11" name="Rectangle 10"/>
          <p:cNvSpPr/>
          <p:nvPr/>
        </p:nvSpPr>
        <p:spPr>
          <a:xfrm>
            <a:off x="4664960" y="1484730"/>
            <a:ext cx="792110" cy="504070"/>
          </a:xfrm>
          <a:prstGeom prst="rect">
            <a:avLst/>
          </a:prstGeom>
          <a:noFill/>
          <a:ln w="603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12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20440" y="5013220"/>
            <a:ext cx="699130" cy="75445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84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Duszk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4448930" y="1340710"/>
            <a:ext cx="5256730" cy="28804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Możemy tworzyć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nowe duszki</a:t>
            </a:r>
            <a:r>
              <a:rPr lang="pl-PL" sz="2400" dirty="0" smtClean="0">
                <a:latin typeface="Comic Sans MS"/>
              </a:rPr>
              <a:t>: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</a:t>
            </a:r>
            <a:r>
              <a:rPr lang="pl-PL" sz="2400" dirty="0" smtClean="0">
                <a:latin typeface="Comic Sans MS"/>
              </a:rPr>
              <a:t>ybierając z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biblioteki duszków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r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ysując</a:t>
            </a:r>
            <a:r>
              <a:rPr lang="pl-PL" sz="2400" dirty="0" smtClean="0">
                <a:latin typeface="Comic Sans MS"/>
              </a:rPr>
              <a:t> nowego duszka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</a:t>
            </a:r>
            <a:r>
              <a:rPr lang="pl-PL" sz="2400" dirty="0" smtClean="0">
                <a:latin typeface="Comic Sans MS"/>
              </a:rPr>
              <a:t>ykorzystując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gotowy plik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r</a:t>
            </a:r>
            <a:r>
              <a:rPr lang="pl-PL" sz="2400" dirty="0" smtClean="0">
                <a:latin typeface="Comic Sans MS"/>
              </a:rPr>
              <a:t>obiąc zdjęci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kamerką</a:t>
            </a:r>
            <a:endParaRPr lang="de-DE" sz="2400" dirty="0" smtClean="0">
              <a:solidFill>
                <a:srgbClr val="FF9900"/>
              </a:solidFill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88420" name="Picture 4" descr="C:\Projects\robocap\scratch-labs\slideshow\images\Screenshot2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2350" y="3140960"/>
            <a:ext cx="3877216" cy="1581371"/>
          </a:xfrm>
          <a:prstGeom prst="rect">
            <a:avLst/>
          </a:prstGeom>
          <a:noFill/>
        </p:spPr>
      </p:pic>
      <p:pic>
        <p:nvPicPr>
          <p:cNvPr id="188419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72600" y="4221110"/>
            <a:ext cx="6552910" cy="1806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2288630" y="3068950"/>
            <a:ext cx="1944270" cy="504070"/>
          </a:xfrm>
          <a:prstGeom prst="rect">
            <a:avLst/>
          </a:prstGeom>
          <a:noFill/>
          <a:ln w="603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12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8430" y="1513222"/>
            <a:ext cx="699130" cy="75445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94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Informacje o duszkach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8929240" cy="10081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Dla każdego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a</a:t>
            </a:r>
            <a:r>
              <a:rPr lang="pl-PL" sz="2400" dirty="0" smtClean="0">
                <a:latin typeface="Comic Sans MS"/>
              </a:rPr>
              <a:t> możemy podejrzeć informacje na jego temat: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ołożenie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kąt nachylenia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yl obracania</a:t>
            </a:r>
            <a:r>
              <a:rPr lang="pl-PL" sz="2400" dirty="0" smtClean="0">
                <a:latin typeface="Comic Sans MS"/>
              </a:rPr>
              <a:t>…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89444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856570" y="3212970"/>
            <a:ext cx="3867150" cy="229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944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12800" y="4005080"/>
            <a:ext cx="4625350" cy="1985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5097020" y="4293120"/>
            <a:ext cx="2880400" cy="158422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216620" y="3861060"/>
            <a:ext cx="1008140" cy="28804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4</Words>
  <Application>Microsoft Office PowerPoint</Application>
  <PresentationFormat>A4 Paper (210x297 mm)</PresentationFormat>
  <Paragraphs>103</Paragraphs>
  <Slides>17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Blank</vt:lpstr>
      <vt:lpstr>Closing slides</vt:lpstr>
      <vt:lpstr>Section break</vt:lpstr>
      <vt:lpstr>think-cell Slide</vt:lpstr>
      <vt:lpstr>           .</vt:lpstr>
      <vt:lpstr>Czym jest                  ?</vt:lpstr>
      <vt:lpstr>Czego uczy nas                  ?</vt:lpstr>
      <vt:lpstr>Czym jest programowanie?</vt:lpstr>
      <vt:lpstr>Podstawowe elementy projektu w Scratchu.</vt:lpstr>
      <vt:lpstr>Sceny i duszki.</vt:lpstr>
      <vt:lpstr>Scena.</vt:lpstr>
      <vt:lpstr>Duszki.</vt:lpstr>
      <vt:lpstr>Informacje o duszkach.</vt:lpstr>
      <vt:lpstr>Stroje.</vt:lpstr>
      <vt:lpstr>Stroje.</vt:lpstr>
      <vt:lpstr>Stroje.</vt:lpstr>
      <vt:lpstr>Paleta narzędzi.</vt:lpstr>
      <vt:lpstr>Paleta bloków.</vt:lpstr>
      <vt:lpstr>Jak wystartować i zatrzymać program?</vt:lpstr>
      <vt:lpstr>Slide 16</vt:lpstr>
      <vt:lpstr>Slide 17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Krzysztof Sobkowiak</cp:lastModifiedBy>
  <cp:revision>66</cp:revision>
  <dcterms:created xsi:type="dcterms:W3CDTF">2014-10-21T19:55:20Z</dcterms:created>
  <dcterms:modified xsi:type="dcterms:W3CDTF">2014-11-24T22:05:24Z</dcterms:modified>
</cp:coreProperties>
</file>